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4"/>
  </p:notesMasterIdLst>
  <p:sldIdLst>
    <p:sldId id="256" r:id="rId2"/>
    <p:sldId id="257" r:id="rId3"/>
    <p:sldId id="266" r:id="rId4"/>
    <p:sldId id="265" r:id="rId5"/>
    <p:sldId id="267" r:id="rId6"/>
    <p:sldId id="268" r:id="rId7"/>
    <p:sldId id="261" r:id="rId8"/>
    <p:sldId id="269" r:id="rId9"/>
    <p:sldId id="273" r:id="rId10"/>
    <p:sldId id="270" r:id="rId11"/>
    <p:sldId id="272" r:id="rId12"/>
    <p:sldId id="263" r:id="rId13"/>
  </p:sldIdLst>
  <p:sldSz cx="12192000" cy="6858000"/>
  <p:notesSz cx="6724650" cy="97742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386">
          <p15:clr>
            <a:srgbClr val="A4A3A4"/>
          </p15:clr>
        </p15:guide>
        <p15:guide id="4" pos="199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6F31"/>
    <a:srgbClr val="E26F37"/>
    <a:srgbClr val="D43D25"/>
    <a:srgbClr val="DA713A"/>
    <a:srgbClr val="E16F36"/>
    <a:srgbClr val="BE1520"/>
    <a:srgbClr val="CF1E24"/>
    <a:srgbClr val="C72A31"/>
    <a:srgbClr val="DA30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27" autoAdjust="0"/>
    <p:restoredTop sz="94619" autoAdjust="0"/>
  </p:normalViewPr>
  <p:slideViewPr>
    <p:cSldViewPr snapToGrid="0" snapToObjects="1">
      <p:cViewPr varScale="1">
        <p:scale>
          <a:sx n="65" d="100"/>
          <a:sy n="65" d="100"/>
        </p:scale>
        <p:origin x="688" y="52"/>
      </p:cViewPr>
      <p:guideLst>
        <p:guide orient="horz" pos="2160"/>
        <p:guide pos="3840"/>
        <p:guide orient="horz" pos="2386"/>
        <p:guide pos="19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47B1F3-FB2D-A247-9676-97B3C010A75B}" type="datetimeFigureOut">
              <a:rPr lang="it-IT" smtClean="0"/>
              <a:t>22/06/201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2465" y="4703852"/>
            <a:ext cx="5379720" cy="384860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09079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BAA04C-CF00-2442-8489-B17C223CBBD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56307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BAA04C-CF00-2442-8489-B17C223CBBD3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8465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ina inter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9959132" y="6478588"/>
            <a:ext cx="717915" cy="319088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rgbClr val="7F7F7F"/>
                </a:solidFill>
                <a:latin typeface="+mj-lt"/>
              </a:defRPr>
            </a:lvl1pPr>
          </a:lstStyle>
          <a:p>
            <a:fld id="{5C7FE145-5F5F-9146-8268-470DD024125C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6915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ttore 1 8"/>
          <p:cNvCxnSpPr/>
          <p:nvPr userDrawn="1"/>
        </p:nvCxnSpPr>
        <p:spPr>
          <a:xfrm flipH="1">
            <a:off x="601664" y="968418"/>
            <a:ext cx="10997669" cy="0"/>
          </a:xfrm>
          <a:prstGeom prst="line">
            <a:avLst/>
          </a:prstGeom>
          <a:ln w="25400" cap="rnd">
            <a:solidFill>
              <a:srgbClr val="C72A3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14" r="74033" b="37508"/>
          <a:stretch/>
        </p:blipFill>
        <p:spPr>
          <a:xfrm>
            <a:off x="10647499" y="5776731"/>
            <a:ext cx="1544501" cy="1081270"/>
          </a:xfrm>
          <a:prstGeom prst="rect">
            <a:avLst/>
          </a:prstGeom>
        </p:spPr>
      </p:pic>
      <p:sp>
        <p:nvSpPr>
          <p:cNvPr id="11" name="Titolo 1"/>
          <p:cNvSpPr txBox="1">
            <a:spLocks/>
          </p:cNvSpPr>
          <p:nvPr userDrawn="1"/>
        </p:nvSpPr>
        <p:spPr>
          <a:xfrm>
            <a:off x="601662" y="353490"/>
            <a:ext cx="7627989" cy="53860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080"/>
              </a:lnSpc>
              <a:spcAft>
                <a:spcPts val="600"/>
              </a:spcAft>
            </a:pPr>
            <a:r>
              <a:rPr lang="it-IT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Signika" charset="0"/>
                <a:cs typeface="Calibri"/>
              </a:rPr>
              <a:t>ROMA 24</a:t>
            </a:r>
            <a:r>
              <a:rPr lang="it-IT" sz="1100" b="1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Signika" charset="0"/>
                <a:cs typeface="Calibri"/>
              </a:rPr>
              <a:t> </a:t>
            </a:r>
            <a:r>
              <a:rPr lang="it-IT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Signika" charset="0"/>
                <a:cs typeface="Calibri"/>
              </a:rPr>
              <a:t>GIUGNO 2016 </a:t>
            </a:r>
          </a:p>
          <a:p>
            <a:pPr>
              <a:lnSpc>
                <a:spcPts val="1080"/>
              </a:lnSpc>
              <a:spcAft>
                <a:spcPts val="0"/>
              </a:spcAft>
            </a:pPr>
            <a:r>
              <a:rPr lang="it-IT" sz="1100" b="1" dirty="0" smtClean="0">
                <a:solidFill>
                  <a:srgbClr val="E26F31"/>
                </a:solidFill>
                <a:latin typeface="+mn-lt"/>
                <a:ea typeface="Signika Light" charset="0"/>
                <a:cs typeface="Calibri"/>
              </a:rPr>
              <a:t>OFFICINA MODERNIZZAZIONE</a:t>
            </a:r>
          </a:p>
          <a:p>
            <a:pPr>
              <a:lnSpc>
                <a:spcPts val="1080"/>
              </a:lnSpc>
              <a:spcBef>
                <a:spcPts val="300"/>
              </a:spcBef>
              <a:spcAft>
                <a:spcPts val="600"/>
              </a:spcAft>
            </a:pPr>
            <a:r>
              <a:rPr lang="it-IT" sz="1200" dirty="0" smtClean="0">
                <a:solidFill>
                  <a:schemeClr val="tx1"/>
                </a:solidFill>
                <a:latin typeface="+mn-lt"/>
                <a:ea typeface="Signika Light" charset="0"/>
                <a:cs typeface="Arial"/>
              </a:rPr>
              <a:t>Titolo</a:t>
            </a:r>
            <a:r>
              <a:rPr lang="it-IT" sz="1200" baseline="0" dirty="0" smtClean="0">
                <a:solidFill>
                  <a:schemeClr val="tx1"/>
                </a:solidFill>
                <a:latin typeface="+mn-lt"/>
                <a:ea typeface="Signika Light" charset="0"/>
                <a:cs typeface="Arial"/>
              </a:rPr>
              <a:t> presentazione</a:t>
            </a:r>
            <a:endParaRPr lang="it-IT" sz="1200" dirty="0">
              <a:solidFill>
                <a:schemeClr val="tx1"/>
              </a:solidFill>
              <a:latin typeface="+mn-lt"/>
              <a:ea typeface="Signika Light" charset="0"/>
              <a:cs typeface="Arial"/>
            </a:endParaRPr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9959132" y="6478588"/>
            <a:ext cx="717915" cy="319088"/>
          </a:xfrm>
          <a:prstGeom prst="rect">
            <a:avLst/>
          </a:prstGeom>
        </p:spPr>
        <p:txBody>
          <a:bodyPr/>
          <a:lstStyle>
            <a:lvl1pPr algn="r">
              <a:defRPr b="0" i="0">
                <a:solidFill>
                  <a:srgbClr val="7F7F7F"/>
                </a:solidFill>
                <a:latin typeface="+mj-lt"/>
              </a:defRPr>
            </a:lvl1pPr>
          </a:lstStyle>
          <a:p>
            <a:fld id="{5C7FE145-5F5F-9146-8268-470DD024125C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5279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0"/>
          <p:cNvSpPr/>
          <p:nvPr/>
        </p:nvSpPr>
        <p:spPr>
          <a:xfrm>
            <a:off x="0" y="-599826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ttangolo 5"/>
          <p:cNvSpPr/>
          <p:nvPr/>
        </p:nvSpPr>
        <p:spPr>
          <a:xfrm>
            <a:off x="0" y="3376083"/>
            <a:ext cx="12192000" cy="3481918"/>
          </a:xfrm>
          <a:prstGeom prst="rect">
            <a:avLst/>
          </a:prstGeom>
          <a:solidFill>
            <a:srgbClr val="E26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>
                <a:solidFill>
                  <a:srgbClr val="DA304A"/>
                </a:solidFill>
              </a:rPr>
              <a:t> </a:t>
            </a:r>
            <a:endParaRPr lang="it-IT" dirty="0">
              <a:solidFill>
                <a:srgbClr val="DA304A"/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3173412" y="3872737"/>
            <a:ext cx="8221860" cy="14747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80"/>
              </a:lnSpc>
            </a:pPr>
            <a:r>
              <a:rPr lang="it-IT" sz="2800" dirty="0" smtClean="0">
                <a:solidFill>
                  <a:schemeClr val="bg1"/>
                </a:solidFill>
                <a:latin typeface="+mj-lt"/>
                <a:ea typeface="Signika Light" charset="0"/>
                <a:cs typeface="Arial"/>
              </a:rPr>
              <a:t>OFFICINA MODERNIZZAZIONE</a:t>
            </a:r>
          </a:p>
          <a:p>
            <a:pPr>
              <a:lnSpc>
                <a:spcPts val="3200"/>
              </a:lnSpc>
            </a:pPr>
            <a:endParaRPr lang="it-IT" sz="3200" dirty="0" smtClean="0">
              <a:solidFill>
                <a:schemeClr val="bg1"/>
              </a:solidFill>
              <a:ea typeface="Signika Light" charset="0"/>
              <a:cs typeface="Arial"/>
            </a:endParaRPr>
          </a:p>
          <a:p>
            <a:pPr>
              <a:lnSpc>
                <a:spcPts val="3200"/>
              </a:lnSpc>
            </a:pPr>
            <a:r>
              <a:rPr lang="it-IT" sz="3200" dirty="0" smtClean="0">
                <a:solidFill>
                  <a:schemeClr val="bg1"/>
                </a:solidFill>
                <a:ea typeface="Signika Light" charset="0"/>
                <a:cs typeface="Arial"/>
              </a:rPr>
              <a:t>L’esperienza del Piano Triennale nazionale di digitalizzazione alla luce delle </a:t>
            </a:r>
            <a:r>
              <a:rPr lang="it-IT" sz="3200" i="1" dirty="0" smtClean="0">
                <a:solidFill>
                  <a:schemeClr val="bg1"/>
                </a:solidFill>
                <a:ea typeface="Signika Light" charset="0"/>
                <a:cs typeface="Arial"/>
              </a:rPr>
              <a:t>policy </a:t>
            </a:r>
            <a:r>
              <a:rPr lang="it-IT" sz="3200" dirty="0" smtClean="0">
                <a:solidFill>
                  <a:schemeClr val="bg1"/>
                </a:solidFill>
                <a:ea typeface="Signika Light" charset="0"/>
                <a:cs typeface="Arial"/>
              </a:rPr>
              <a:t>europee</a:t>
            </a:r>
            <a:endParaRPr lang="it-IT" sz="3200" dirty="0">
              <a:solidFill>
                <a:schemeClr val="bg1"/>
              </a:solidFill>
              <a:ea typeface="Signika Light" charset="0"/>
              <a:cs typeface="Arial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idx="4294967295"/>
          </p:nvPr>
        </p:nvSpPr>
        <p:spPr>
          <a:xfrm>
            <a:off x="611254" y="384211"/>
            <a:ext cx="5050820" cy="161112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l">
              <a:lnSpc>
                <a:spcPts val="2500"/>
              </a:lnSpc>
            </a:pPr>
            <a:r>
              <a:rPr lang="it-IT" sz="2400" b="1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>COMPORTAMENTI INDIVIDUALI </a:t>
            </a:r>
            <a:br>
              <a:rPr lang="it-IT" sz="2400" b="1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</a:br>
            <a:r>
              <a:rPr lang="it-IT" sz="2400" b="1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>E RELAZIONI SOCIALI </a:t>
            </a:r>
            <a:br>
              <a:rPr lang="it-IT" sz="2400" b="1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</a:br>
            <a:r>
              <a:rPr lang="it-IT" sz="2400" b="1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>IN TRASFORMAZIONE </a:t>
            </a:r>
            <a:br>
              <a:rPr lang="it-IT" sz="2400" b="1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</a:br>
            <a:r>
              <a:rPr lang="it-IT" sz="2400" dirty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>UNA SFIDA </a:t>
            </a:r>
            <a:r>
              <a:rPr lang="it-IT" sz="2400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>PER </a:t>
            </a:r>
            <a:r>
              <a:rPr lang="it-IT" sz="2400" dirty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>LA </a:t>
            </a:r>
            <a:r>
              <a:rPr lang="it-IT" sz="2400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/>
            </a:r>
            <a:br>
              <a:rPr lang="it-IT" sz="2400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</a:br>
            <a:r>
              <a:rPr lang="it-IT" sz="2400" dirty="0" smtClean="0">
                <a:solidFill>
                  <a:schemeClr val="bg1"/>
                </a:solidFill>
                <a:latin typeface="Signika" charset="0"/>
                <a:ea typeface="Signika" charset="0"/>
                <a:cs typeface="Signika" charset="0"/>
              </a:rPr>
              <a:t>STATISTICA UFFICIALE </a:t>
            </a:r>
            <a:endParaRPr lang="it-IT" sz="2400" dirty="0">
              <a:solidFill>
                <a:schemeClr val="bg1"/>
              </a:solidFill>
              <a:latin typeface="Signika" charset="0"/>
              <a:ea typeface="Signika" charset="0"/>
              <a:cs typeface="Signika" charset="0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961"/>
          <a:stretch/>
        </p:blipFill>
        <p:spPr>
          <a:xfrm>
            <a:off x="323742" y="214878"/>
            <a:ext cx="7546646" cy="2895775"/>
          </a:xfrm>
          <a:prstGeom prst="rect">
            <a:avLst/>
          </a:prstGeom>
        </p:spPr>
      </p:pic>
      <p:pic>
        <p:nvPicPr>
          <p:cNvPr id="13" name="Immagine 12" descr="Logo12esimaOk-21.ep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714" y="5859742"/>
            <a:ext cx="480972" cy="625265"/>
          </a:xfrm>
          <a:prstGeom prst="rect">
            <a:avLst/>
          </a:prstGeom>
        </p:spPr>
      </p:pic>
      <p:pic>
        <p:nvPicPr>
          <p:cNvPr id="17" name="Immagine 16" descr="Logo12esimaOk-22.ep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6186" y="3683343"/>
            <a:ext cx="571500" cy="609600"/>
          </a:xfrm>
          <a:prstGeom prst="rect">
            <a:avLst/>
          </a:prstGeom>
        </p:spPr>
      </p:pic>
      <p:sp>
        <p:nvSpPr>
          <p:cNvPr id="19" name="CasellaDiTesto 18"/>
          <p:cNvSpPr txBox="1"/>
          <p:nvPr/>
        </p:nvSpPr>
        <p:spPr>
          <a:xfrm>
            <a:off x="3173412" y="6056410"/>
            <a:ext cx="5528136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200"/>
              </a:lnSpc>
            </a:pPr>
            <a:r>
              <a:rPr lang="it-IT" sz="2000" dirty="0" smtClean="0">
                <a:solidFill>
                  <a:schemeClr val="bg1"/>
                </a:solidFill>
                <a:latin typeface="+mj-lt"/>
                <a:ea typeface="Signika Light" charset="0"/>
                <a:cs typeface="Arial"/>
              </a:rPr>
              <a:t>Daniela Maria Intravaia| Agenzia per l’Italia Digitale</a:t>
            </a:r>
            <a:endParaRPr lang="it-IT" sz="2000" dirty="0">
              <a:solidFill>
                <a:schemeClr val="bg1"/>
              </a:solidFill>
              <a:latin typeface="+mj-lt"/>
              <a:ea typeface="Signika Light" charset="0"/>
              <a:cs typeface="Arial"/>
            </a:endParaRPr>
          </a:p>
        </p:txBody>
      </p:sp>
      <p:cxnSp>
        <p:nvCxnSpPr>
          <p:cNvPr id="20" name="Connettore 1 19"/>
          <p:cNvCxnSpPr/>
          <p:nvPr/>
        </p:nvCxnSpPr>
        <p:spPr>
          <a:xfrm>
            <a:off x="2998756" y="3811955"/>
            <a:ext cx="0" cy="2580211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C:\Users\Raffaele\Desktop\AGID_carta\USO ESTERNO\AGID_logo_carta_intestata_bn-01.png"/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888360" y="1277575"/>
            <a:ext cx="2926951" cy="596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4705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4294967295"/>
          </p:nvPr>
        </p:nvSpPr>
        <p:spPr>
          <a:xfrm>
            <a:off x="4649492" y="2015595"/>
            <a:ext cx="6971007" cy="4245720"/>
          </a:xfrm>
          <a:prstGeom prst="rect">
            <a:avLst/>
          </a:prstGeom>
        </p:spPr>
        <p:txBody>
          <a:bodyPr lIns="0" tIns="0" rIns="0" bIns="0"/>
          <a:lstStyle/>
          <a:p>
            <a:pPr marL="285750" indent="-285750" algn="l">
              <a:buClr>
                <a:srgbClr val="DA304A"/>
              </a:buClr>
              <a:buSzPct val="160000"/>
              <a:buFont typeface="Wingdings" charset="2"/>
              <a:buChar char="§"/>
            </a:pPr>
            <a:endParaRPr lang="it-IT" sz="1400" dirty="0"/>
          </a:p>
          <a:p>
            <a:r>
              <a:rPr lang="it-IT" sz="2500" dirty="0"/>
              <a:t>Considerando gli elementi essenziali del </a:t>
            </a:r>
            <a:r>
              <a:rPr lang="it-IT" sz="2500" i="1" dirty="0"/>
              <a:t>triangolo</a:t>
            </a:r>
            <a:r>
              <a:rPr lang="it-IT" sz="2500" dirty="0"/>
              <a:t> dei </a:t>
            </a:r>
            <a:r>
              <a:rPr lang="it-IT" sz="2500" i="1" dirty="0"/>
              <a:t>vincoli di progetto</a:t>
            </a:r>
            <a:r>
              <a:rPr lang="it-IT" sz="2500" dirty="0"/>
              <a:t>:</a:t>
            </a:r>
          </a:p>
          <a:p>
            <a:r>
              <a:rPr lang="it-IT" sz="2500" dirty="0"/>
              <a:t>SCOPO-QUALITA’: propensione a concentrarsi sul rapporto di efficienza, a discapito della qualità</a:t>
            </a:r>
          </a:p>
          <a:p>
            <a:r>
              <a:rPr lang="it-IT" sz="2500" dirty="0"/>
              <a:t>TEMPO: propensione ad una relativa indifferenza al fattore tempo, ad es., mettendo in sequenza e non parallelizzando le attività</a:t>
            </a:r>
          </a:p>
          <a:p>
            <a:r>
              <a:rPr lang="it-IT" sz="2500" dirty="0"/>
              <a:t>COSTO/RISORSE: limitato margine al </a:t>
            </a:r>
            <a:r>
              <a:rPr lang="it-IT" sz="2500" dirty="0" err="1"/>
              <a:t>project</a:t>
            </a:r>
            <a:r>
              <a:rPr lang="it-IT" sz="2500" dirty="0"/>
              <a:t> manager o al dirigente per determinare le risorse; soprattutto quelle umane, non si possono scegliere</a:t>
            </a:r>
          </a:p>
          <a:p>
            <a:pPr algn="l"/>
            <a:endParaRPr lang="it-IT" sz="12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9599868" y="6478588"/>
            <a:ext cx="1077179" cy="319088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10</a:t>
            </a:fld>
            <a:endParaRPr lang="it-IT" dirty="0"/>
          </a:p>
        </p:txBody>
      </p:sp>
      <p:sp>
        <p:nvSpPr>
          <p:cNvPr id="9" name="Titolo 1"/>
          <p:cNvSpPr>
            <a:spLocks noGrp="1"/>
          </p:cNvSpPr>
          <p:nvPr>
            <p:ph type="ctrTitle" idx="4294967295"/>
          </p:nvPr>
        </p:nvSpPr>
        <p:spPr>
          <a:xfrm>
            <a:off x="1053886" y="1274238"/>
            <a:ext cx="10821412" cy="942019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r>
              <a:rPr lang="it-IT" sz="3200" b="1" dirty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Ostacoli al </a:t>
            </a:r>
            <a:r>
              <a:rPr lang="it-IT" sz="3200" b="1" dirty="0" err="1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project</a:t>
            </a:r>
            <a:r>
              <a:rPr lang="it-IT" sz="3200" b="1" dirty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 management nella conduzione di progetti nella P.A.</a:t>
            </a:r>
          </a:p>
        </p:txBody>
      </p:sp>
    </p:spTree>
    <p:extLst>
      <p:ext uri="{BB962C8B-B14F-4D97-AF65-F5344CB8AC3E}">
        <p14:creationId xmlns:p14="http://schemas.microsoft.com/office/powerpoint/2010/main" val="264708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4294967295"/>
          </p:nvPr>
        </p:nvSpPr>
        <p:spPr>
          <a:xfrm>
            <a:off x="4417017" y="2061275"/>
            <a:ext cx="6971007" cy="4417313"/>
          </a:xfrm>
          <a:prstGeom prst="rect">
            <a:avLst/>
          </a:prstGeom>
        </p:spPr>
        <p:txBody>
          <a:bodyPr lIns="0" tIns="0" rIns="0" bIns="0"/>
          <a:lstStyle/>
          <a:p>
            <a:pPr marL="0" indent="0">
              <a:buClr>
                <a:srgbClr val="DA304A"/>
              </a:buClr>
              <a:buSzPct val="160000"/>
              <a:buNone/>
            </a:pPr>
            <a:endParaRPr lang="it-IT" sz="2000" dirty="0" smtClean="0"/>
          </a:p>
          <a:p>
            <a:pPr marL="0" indent="0">
              <a:buClr>
                <a:srgbClr val="DA304A"/>
              </a:buClr>
              <a:buSzPct val="160000"/>
              <a:buNone/>
            </a:pPr>
            <a:r>
              <a:rPr lang="it-IT" sz="2000" dirty="0" smtClean="0"/>
              <a:t>Il </a:t>
            </a:r>
            <a:r>
              <a:rPr lang="it-IT" sz="2000" dirty="0"/>
              <a:t>PORTFOLIO – spesso è </a:t>
            </a:r>
            <a:r>
              <a:rPr lang="it-IT" sz="2000" dirty="0" smtClean="0"/>
              <a:t>predeterminato</a:t>
            </a:r>
            <a:endParaRPr lang="it-IT" sz="2000" dirty="0"/>
          </a:p>
          <a:p>
            <a:pPr marL="0" indent="0">
              <a:buClr>
                <a:srgbClr val="DA304A"/>
              </a:buClr>
              <a:buSzPct val="160000"/>
              <a:buNone/>
            </a:pPr>
            <a:r>
              <a:rPr lang="it-IT" sz="2000" dirty="0"/>
              <a:t>Carenze in corso di attuazione del progetto:</a:t>
            </a:r>
          </a:p>
          <a:p>
            <a:pPr marL="285750" indent="-285750">
              <a:buClr>
                <a:srgbClr val="DA304A"/>
              </a:buClr>
              <a:buSzPct val="160000"/>
              <a:buFont typeface="Wingdings" charset="2"/>
              <a:buChar char="§"/>
            </a:pPr>
            <a:r>
              <a:rPr lang="it-IT" sz="2000" dirty="0"/>
              <a:t>s</a:t>
            </a:r>
            <a:r>
              <a:rPr lang="it-IT" sz="2000" dirty="0" smtClean="0"/>
              <a:t>ottovalutazione </a:t>
            </a:r>
            <a:r>
              <a:rPr lang="it-IT" sz="2000" dirty="0"/>
              <a:t>delle fasi iniziali di analisi </a:t>
            </a:r>
            <a:r>
              <a:rPr lang="it-IT" sz="2000" dirty="0" smtClean="0"/>
              <a:t>+ limitate </a:t>
            </a:r>
            <a:r>
              <a:rPr lang="it-IT" sz="2000" dirty="0"/>
              <a:t>capacità di adeguamento in corso d’opera…</a:t>
            </a:r>
          </a:p>
          <a:p>
            <a:pPr marL="285750" indent="-285750">
              <a:buClr>
                <a:srgbClr val="DA304A"/>
              </a:buClr>
              <a:buSzPct val="160000"/>
              <a:buFont typeface="Wingdings" charset="2"/>
              <a:buChar char="§"/>
            </a:pPr>
            <a:r>
              <a:rPr lang="it-IT" sz="2000" dirty="0"/>
              <a:t>…quando esistenti, difficile fare accettare le modifiche a committenza, contesto e …fornitori</a:t>
            </a:r>
          </a:p>
          <a:p>
            <a:pPr marL="285750" indent="-285750">
              <a:buClr>
                <a:srgbClr val="DA304A"/>
              </a:buClr>
              <a:buSzPct val="160000"/>
              <a:buFont typeface="Wingdings" charset="2"/>
              <a:buChar char="§"/>
            </a:pPr>
            <a:r>
              <a:rPr lang="it-IT" sz="2000" dirty="0" smtClean="0"/>
              <a:t>definizione </a:t>
            </a:r>
            <a:r>
              <a:rPr lang="it-IT" sz="2000" dirty="0"/>
              <a:t>degli indicatori inappropriata o scarsamente efficace</a:t>
            </a:r>
          </a:p>
          <a:p>
            <a:pPr marL="285750" indent="-285750">
              <a:buClr>
                <a:srgbClr val="DA304A"/>
              </a:buClr>
              <a:buSzPct val="160000"/>
              <a:buFont typeface="Wingdings" charset="2"/>
              <a:buChar char="§"/>
            </a:pPr>
            <a:r>
              <a:rPr lang="it-IT" sz="2000" i="1" dirty="0" err="1" smtClean="0"/>
              <a:t>risk</a:t>
            </a:r>
            <a:r>
              <a:rPr lang="it-IT" sz="2000" i="1" dirty="0" smtClean="0"/>
              <a:t> </a:t>
            </a:r>
            <a:r>
              <a:rPr lang="it-IT" sz="2000" i="1" dirty="0"/>
              <a:t>management </a:t>
            </a:r>
            <a:r>
              <a:rPr lang="it-IT" sz="2000" dirty="0"/>
              <a:t>quasi assente</a:t>
            </a:r>
          </a:p>
          <a:p>
            <a:pPr marL="285750" indent="-285750">
              <a:buClr>
                <a:srgbClr val="DA304A"/>
              </a:buClr>
              <a:buSzPct val="160000"/>
              <a:buFont typeface="Wingdings" charset="2"/>
              <a:buChar char="§"/>
            </a:pPr>
            <a:r>
              <a:rPr lang="it-IT" sz="2000" i="1" dirty="0" err="1"/>
              <a:t>Problem</a:t>
            </a:r>
            <a:r>
              <a:rPr lang="it-IT" sz="2000" i="1" dirty="0"/>
              <a:t> </a:t>
            </a:r>
            <a:r>
              <a:rPr lang="it-IT" sz="2000" i="1" dirty="0" err="1"/>
              <a:t>solving</a:t>
            </a:r>
            <a:r>
              <a:rPr lang="it-IT" sz="2000" i="1" dirty="0"/>
              <a:t> </a:t>
            </a:r>
            <a:r>
              <a:rPr lang="it-IT" sz="2000" dirty="0"/>
              <a:t>quasi assente</a:t>
            </a:r>
          </a:p>
          <a:p>
            <a:pPr marL="285750" indent="-285750">
              <a:buClr>
                <a:srgbClr val="DA304A"/>
              </a:buClr>
              <a:buSzPct val="160000"/>
              <a:buFont typeface="Wingdings" charset="2"/>
              <a:buChar char="§"/>
            </a:pPr>
            <a:r>
              <a:rPr lang="it-IT" sz="2000" i="1" dirty="0" err="1"/>
              <a:t>Deliverable</a:t>
            </a:r>
            <a:r>
              <a:rPr lang="it-IT" sz="2000" dirty="0"/>
              <a:t>: talvolta ridotti a consegna di documenti = burocratizzazione della fase realizzativa core di </a:t>
            </a:r>
            <a:r>
              <a:rPr lang="it-IT" sz="2000" dirty="0" smtClean="0"/>
              <a:t>progetto</a:t>
            </a:r>
            <a:endParaRPr lang="it-IT" sz="20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9599868" y="6478588"/>
            <a:ext cx="1077179" cy="319088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11</a:t>
            </a:fld>
            <a:endParaRPr lang="it-IT" dirty="0"/>
          </a:p>
        </p:txBody>
      </p:sp>
      <p:sp>
        <p:nvSpPr>
          <p:cNvPr id="9" name="Titolo 1"/>
          <p:cNvSpPr>
            <a:spLocks noGrp="1"/>
          </p:cNvSpPr>
          <p:nvPr>
            <p:ph type="ctrTitle" idx="4294967295"/>
          </p:nvPr>
        </p:nvSpPr>
        <p:spPr>
          <a:xfrm>
            <a:off x="1053886" y="1274238"/>
            <a:ext cx="10821412" cy="942019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pPr algn="l"/>
            <a:r>
              <a:rPr lang="it-IT" sz="3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Ostacoli al </a:t>
            </a:r>
            <a:r>
              <a:rPr lang="it-IT" sz="32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oject</a:t>
            </a:r>
            <a:r>
              <a:rPr lang="it-IT" sz="3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management nella conduzione di progetti nella P.A.</a:t>
            </a:r>
            <a:endParaRPr lang="it-IT" sz="3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3953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9599868" y="6478588"/>
            <a:ext cx="1077179" cy="319088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12</a:t>
            </a:fld>
            <a:endParaRPr lang="it-IT" dirty="0"/>
          </a:p>
        </p:txBody>
      </p:sp>
      <p:sp>
        <p:nvSpPr>
          <p:cNvPr id="6" name="Sottotitolo 2"/>
          <p:cNvSpPr txBox="1">
            <a:spLocks/>
          </p:cNvSpPr>
          <p:nvPr/>
        </p:nvSpPr>
        <p:spPr>
          <a:xfrm>
            <a:off x="1461054" y="1579286"/>
            <a:ext cx="8912198" cy="4899302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it-IT" sz="2500" dirty="0" smtClean="0">
                <a:solidFill>
                  <a:srgbClr val="595959"/>
                </a:solidFill>
              </a:rPr>
              <a:t>…ne deriva la propensione ad esternalizzare proprio quegli aspetti che dovrebbero rimanere nel presidio dell’amministrazione committente</a:t>
            </a:r>
          </a:p>
          <a:p>
            <a:pPr algn="l"/>
            <a:endParaRPr lang="it-IT" sz="2500" dirty="0">
              <a:solidFill>
                <a:srgbClr val="595959"/>
              </a:solidFill>
            </a:endParaRPr>
          </a:p>
          <a:p>
            <a:pPr algn="l"/>
            <a:r>
              <a:rPr lang="it-IT" sz="2500" dirty="0" smtClean="0">
                <a:solidFill>
                  <a:srgbClr val="595959"/>
                </a:solidFill>
              </a:rPr>
              <a:t>Il tali situazioni diviene quanto meno indispensabile esercitare un valido </a:t>
            </a:r>
            <a:r>
              <a:rPr lang="it-IT" sz="2500" i="1" dirty="0" smtClean="0">
                <a:solidFill>
                  <a:srgbClr val="595959"/>
                </a:solidFill>
              </a:rPr>
              <a:t>marketing come committenti </a:t>
            </a:r>
            <a:r>
              <a:rPr lang="it-IT" sz="2500" dirty="0" smtClean="0">
                <a:solidFill>
                  <a:srgbClr val="595959"/>
                </a:solidFill>
              </a:rPr>
              <a:t>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it-IT" sz="2500" dirty="0">
                <a:solidFill>
                  <a:srgbClr val="595959"/>
                </a:solidFill>
              </a:rPr>
              <a:t>s</a:t>
            </a:r>
            <a:r>
              <a:rPr lang="it-IT" sz="2500" dirty="0" smtClean="0">
                <a:solidFill>
                  <a:srgbClr val="595959"/>
                </a:solidFill>
              </a:rPr>
              <a:t>aper definire i propri fabbisogni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it-IT" sz="2500" dirty="0">
                <a:solidFill>
                  <a:srgbClr val="595959"/>
                </a:solidFill>
              </a:rPr>
              <a:t>s</a:t>
            </a:r>
            <a:r>
              <a:rPr lang="it-IT" sz="2500" dirty="0" smtClean="0">
                <a:solidFill>
                  <a:srgbClr val="595959"/>
                </a:solidFill>
              </a:rPr>
              <a:t>aperli comunicar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it-IT" sz="2500" dirty="0">
                <a:solidFill>
                  <a:srgbClr val="595959"/>
                </a:solidFill>
              </a:rPr>
              <a:t>e</a:t>
            </a:r>
            <a:r>
              <a:rPr lang="it-IT" sz="2500" dirty="0" smtClean="0">
                <a:solidFill>
                  <a:srgbClr val="595959"/>
                </a:solidFill>
              </a:rPr>
              <a:t>sercitare presidio e controllo sull’azione del soggetto esterno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it-IT" sz="2500" dirty="0">
                <a:solidFill>
                  <a:srgbClr val="595959"/>
                </a:solidFill>
              </a:rPr>
              <a:t>m</a:t>
            </a:r>
            <a:r>
              <a:rPr lang="it-IT" sz="2500" dirty="0" smtClean="0">
                <a:solidFill>
                  <a:srgbClr val="595959"/>
                </a:solidFill>
              </a:rPr>
              <a:t>antenere il coinvolgimento delle risorse interne sugli obiettivi di progetto …</a:t>
            </a:r>
          </a:p>
        </p:txBody>
      </p:sp>
    </p:spTree>
    <p:extLst>
      <p:ext uri="{BB962C8B-B14F-4D97-AF65-F5344CB8AC3E}">
        <p14:creationId xmlns:p14="http://schemas.microsoft.com/office/powerpoint/2010/main" val="124123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7892072" y="6498838"/>
            <a:ext cx="2743200" cy="365125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2</a:t>
            </a:fld>
            <a:endParaRPr lang="it-IT" dirty="0"/>
          </a:p>
        </p:txBody>
      </p:sp>
      <p:sp>
        <p:nvSpPr>
          <p:cNvPr id="12" name="Sottotitolo 2"/>
          <p:cNvSpPr>
            <a:spLocks noGrp="1"/>
          </p:cNvSpPr>
          <p:nvPr>
            <p:ph type="subTitle" idx="4294967295"/>
          </p:nvPr>
        </p:nvSpPr>
        <p:spPr>
          <a:xfrm>
            <a:off x="6075335" y="1348352"/>
            <a:ext cx="5272329" cy="5269423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it-IT" sz="3000" dirty="0" smtClean="0">
              <a:ea typeface="Signika Light" charset="0"/>
              <a:cs typeface="Signika Light" charset="0"/>
            </a:endParaRPr>
          </a:p>
          <a:p>
            <a:pPr marL="0" indent="0">
              <a:buNone/>
            </a:pPr>
            <a:r>
              <a:rPr lang="it-IT" sz="2500" dirty="0" smtClean="0">
                <a:ea typeface="Signika Light" charset="0"/>
                <a:cs typeface="Signika Light" charset="0"/>
              </a:rPr>
              <a:t>L’agenda </a:t>
            </a:r>
            <a:r>
              <a:rPr lang="it-IT" sz="2500" dirty="0">
                <a:ea typeface="Signika Light" charset="0"/>
                <a:cs typeface="Signika Light" charset="0"/>
              </a:rPr>
              <a:t>digitale è una delle sette iniziative faro della strategia Europa </a:t>
            </a:r>
            <a:r>
              <a:rPr lang="it-IT" sz="2500" dirty="0" smtClean="0">
                <a:ea typeface="Signika Light" charset="0"/>
                <a:cs typeface="Signika Light" charset="0"/>
              </a:rPr>
              <a:t>2020</a:t>
            </a:r>
            <a:endParaRPr lang="it-IT" sz="2500" dirty="0">
              <a:ea typeface="Signika Light" charset="0"/>
              <a:cs typeface="Signika Light" charset="0"/>
            </a:endParaRPr>
          </a:p>
          <a:p>
            <a:pPr marL="0" indent="0">
              <a:buNone/>
            </a:pPr>
            <a:r>
              <a:rPr lang="it-IT" sz="2500" dirty="0" smtClean="0">
                <a:ea typeface="Signika Light" charset="0"/>
                <a:cs typeface="Signika Light" charset="0"/>
              </a:rPr>
              <a:t>Propone </a:t>
            </a:r>
            <a:r>
              <a:rPr lang="it-IT" sz="2500" dirty="0">
                <a:ea typeface="Signika Light" charset="0"/>
                <a:cs typeface="Signika Light" charset="0"/>
              </a:rPr>
              <a:t>di sfruttare al meglio il potenziale delle tecnologie </a:t>
            </a:r>
            <a:r>
              <a:rPr lang="it-IT" sz="2500" dirty="0" smtClean="0">
                <a:ea typeface="Signika Light" charset="0"/>
                <a:cs typeface="Signika Light" charset="0"/>
              </a:rPr>
              <a:t>dell’informazione </a:t>
            </a:r>
            <a:r>
              <a:rPr lang="it-IT" sz="2500" dirty="0">
                <a:ea typeface="Signika Light" charset="0"/>
                <a:cs typeface="Signika Light" charset="0"/>
              </a:rPr>
              <a:t>e della comunicazione (TIC) per favorire </a:t>
            </a:r>
            <a:r>
              <a:rPr lang="it-IT" sz="2500" dirty="0" smtClean="0">
                <a:ea typeface="Signika Light" charset="0"/>
                <a:cs typeface="Signika Light" charset="0"/>
              </a:rPr>
              <a:t>l’innovazione, la </a:t>
            </a:r>
            <a:r>
              <a:rPr lang="it-IT" sz="2500" dirty="0">
                <a:ea typeface="Signika Light" charset="0"/>
                <a:cs typeface="Signika Light" charset="0"/>
              </a:rPr>
              <a:t>crescita economica e il </a:t>
            </a:r>
            <a:r>
              <a:rPr lang="it-IT" sz="2500" dirty="0" smtClean="0">
                <a:ea typeface="Signika Light" charset="0"/>
                <a:cs typeface="Signika Light" charset="0"/>
              </a:rPr>
              <a:t>progresso</a:t>
            </a:r>
          </a:p>
          <a:p>
            <a:pPr marL="0" indent="0">
              <a:buNone/>
            </a:pPr>
            <a:endParaRPr lang="it-IT" sz="2500" dirty="0">
              <a:ea typeface="Signika Light" charset="0"/>
              <a:cs typeface="Signika Light" charset="0"/>
            </a:endParaRPr>
          </a:p>
          <a:p>
            <a:pPr marL="0" indent="0">
              <a:buNone/>
            </a:pPr>
            <a:r>
              <a:rPr lang="it-IT" sz="2000" dirty="0">
                <a:ea typeface="Signika Light" charset="0"/>
                <a:cs typeface="Signika Light" charset="0"/>
              </a:rPr>
              <a:t>http://eur-lex.europa.eu/legal-content/IT/TXT/?uri=URISERV%3Asi0016</a:t>
            </a:r>
          </a:p>
          <a:p>
            <a:pPr marL="0" indent="0" algn="l">
              <a:buNone/>
            </a:pPr>
            <a:endParaRPr lang="it-IT" sz="3000" dirty="0">
              <a:ea typeface="Signika Light" charset="0"/>
              <a:cs typeface="Signika Light" charset="0"/>
            </a:endParaRPr>
          </a:p>
        </p:txBody>
      </p:sp>
      <p:sp>
        <p:nvSpPr>
          <p:cNvPr id="13" name="Titolo 1"/>
          <p:cNvSpPr>
            <a:spLocks noGrp="1"/>
          </p:cNvSpPr>
          <p:nvPr>
            <p:ph type="ctrTitle" idx="4294967295"/>
          </p:nvPr>
        </p:nvSpPr>
        <p:spPr>
          <a:xfrm>
            <a:off x="569913" y="1716419"/>
            <a:ext cx="4380614" cy="2557129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pPr algn="l"/>
            <a:r>
              <a:rPr lang="it-IT" b="1" dirty="0" smtClean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L’Agenda Digitale Europea</a:t>
            </a:r>
            <a:endParaRPr lang="it-IT" b="1" dirty="0">
              <a:solidFill>
                <a:srgbClr val="E26F31"/>
              </a:solidFill>
              <a:latin typeface="+mn-lt"/>
              <a:ea typeface="Signika Semibold" charset="0"/>
              <a:cs typeface="Signika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549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7892072" y="6498838"/>
            <a:ext cx="2743200" cy="365125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3</a:t>
            </a:fld>
            <a:endParaRPr lang="it-IT" dirty="0"/>
          </a:p>
        </p:txBody>
      </p:sp>
      <p:sp>
        <p:nvSpPr>
          <p:cNvPr id="12" name="Sottotitolo 2"/>
          <p:cNvSpPr>
            <a:spLocks noGrp="1"/>
          </p:cNvSpPr>
          <p:nvPr>
            <p:ph type="subTitle" idx="4294967295"/>
          </p:nvPr>
        </p:nvSpPr>
        <p:spPr>
          <a:xfrm>
            <a:off x="5777406" y="1431051"/>
            <a:ext cx="5833730" cy="484577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it-IT" sz="2200" dirty="0" smtClean="0">
                <a:ea typeface="Signika Light" charset="0"/>
                <a:cs typeface="Signika Light" charset="0"/>
              </a:rPr>
              <a:t>E’ una delle iniziative principali della Strategia Europa 2020 e mira a realizzare «un mercato aperto, dove beni e servizi possano circolare liberamente e i contenuti possano essere trasferiti, con regole </a:t>
            </a:r>
            <a:r>
              <a:rPr lang="it-IT" sz="2200" dirty="0">
                <a:ea typeface="Signika Light" charset="0"/>
                <a:cs typeface="Signika Light" charset="0"/>
              </a:rPr>
              <a:t>chiare su </a:t>
            </a:r>
            <a:r>
              <a:rPr lang="it-IT" sz="2200" dirty="0" smtClean="0">
                <a:ea typeface="Signika Light" charset="0"/>
                <a:cs typeface="Signika Light" charset="0"/>
              </a:rPr>
              <a:t>transazioni e pagamenti elettronici, su diritti di proprietà intellettuale e tassazione, prevedibili e a prova di futuro, senza </a:t>
            </a:r>
            <a:r>
              <a:rPr lang="it-IT" sz="2200" dirty="0" err="1" smtClean="0">
                <a:ea typeface="Signika Light" charset="0"/>
                <a:cs typeface="Signika Light" charset="0"/>
              </a:rPr>
              <a:t>geoblocchi</a:t>
            </a:r>
            <a:r>
              <a:rPr lang="it-IT" sz="2200" dirty="0" smtClean="0">
                <a:ea typeface="Signika Light" charset="0"/>
                <a:cs typeface="Signika Light" charset="0"/>
              </a:rPr>
              <a:t> o altri ostacoli tecnici… Le barriere, siano giuridiche, tecniche o amministrative, non dovrebbero impedire l’immenso potenziale di trasformazione per la crescita»</a:t>
            </a:r>
          </a:p>
          <a:p>
            <a:pPr marL="0" indent="0">
              <a:buNone/>
            </a:pPr>
            <a:r>
              <a:rPr lang="it-IT" sz="2200" dirty="0" smtClean="0">
                <a:ea typeface="Signika Light" charset="0"/>
                <a:cs typeface="Signika Light" charset="0"/>
              </a:rPr>
              <a:t>(dalla Dichiarazione di Venezia del luglio 2014, evento </a:t>
            </a:r>
            <a:r>
              <a:rPr lang="it-IT" sz="2200" i="1" dirty="0" smtClean="0">
                <a:ea typeface="Signika Light" charset="0"/>
                <a:cs typeface="Signika Light" charset="0"/>
              </a:rPr>
              <a:t>Digital </a:t>
            </a:r>
            <a:r>
              <a:rPr lang="it-IT" sz="2200" i="1" dirty="0" err="1" smtClean="0">
                <a:ea typeface="Signika Light" charset="0"/>
                <a:cs typeface="Signika Light" charset="0"/>
              </a:rPr>
              <a:t>Venice</a:t>
            </a:r>
            <a:r>
              <a:rPr lang="it-IT" sz="2200" dirty="0" smtClean="0">
                <a:ea typeface="Signika Light" charset="0"/>
                <a:cs typeface="Signika Light" charset="0"/>
              </a:rPr>
              <a:t>, di apertura del Semestre di Presidenza Italiana dell’U.E.)</a:t>
            </a:r>
          </a:p>
        </p:txBody>
      </p:sp>
      <p:sp>
        <p:nvSpPr>
          <p:cNvPr id="13" name="Titolo 1"/>
          <p:cNvSpPr>
            <a:spLocks noGrp="1"/>
          </p:cNvSpPr>
          <p:nvPr>
            <p:ph type="ctrTitle" idx="4294967295"/>
          </p:nvPr>
        </p:nvSpPr>
        <p:spPr>
          <a:xfrm>
            <a:off x="569913" y="1716419"/>
            <a:ext cx="4380614" cy="2557129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pPr algn="l"/>
            <a:r>
              <a:rPr lang="it-IT" b="1" dirty="0" smtClean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Il mercato unico digitale</a:t>
            </a:r>
            <a:endParaRPr lang="it-IT" b="1" dirty="0">
              <a:solidFill>
                <a:srgbClr val="E26F31"/>
              </a:solidFill>
              <a:latin typeface="+mn-lt"/>
              <a:ea typeface="Signika Semibold" charset="0"/>
              <a:cs typeface="Signika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853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7892072" y="6498838"/>
            <a:ext cx="2743200" cy="365125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4</a:t>
            </a:fld>
            <a:endParaRPr lang="it-IT" dirty="0"/>
          </a:p>
        </p:txBody>
      </p:sp>
      <p:sp>
        <p:nvSpPr>
          <p:cNvPr id="12" name="Sottotitolo 2"/>
          <p:cNvSpPr>
            <a:spLocks noGrp="1"/>
          </p:cNvSpPr>
          <p:nvPr>
            <p:ph type="subTitle" idx="4294967295"/>
          </p:nvPr>
        </p:nvSpPr>
        <p:spPr>
          <a:xfrm>
            <a:off x="5641383" y="1803004"/>
            <a:ext cx="5969753" cy="469583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it-IT" sz="2000" dirty="0" smtClean="0">
                <a:ea typeface="Signika Light" charset="0"/>
                <a:cs typeface="Signika Light" charset="0"/>
              </a:rPr>
              <a:t>Il </a:t>
            </a:r>
            <a:r>
              <a:rPr lang="it-IT" sz="2000" dirty="0">
                <a:ea typeface="Signika Light" charset="0"/>
                <a:cs typeface="Signika Light" charset="0"/>
              </a:rPr>
              <a:t>6 maggio 2015, la Commissione ha predisposto una Comunicazione strategica rivolta a Parlamento, Consiglio, Comitato Economico e Sociale e Comitato delle </a:t>
            </a:r>
            <a:r>
              <a:rPr lang="it-IT" sz="2000" dirty="0" smtClean="0">
                <a:ea typeface="Signika Light" charset="0"/>
                <a:cs typeface="Signika Light" charset="0"/>
              </a:rPr>
              <a:t>Regioni [</a:t>
            </a:r>
            <a:r>
              <a:rPr lang="it-IT" sz="2000" dirty="0">
                <a:ea typeface="Signika Light" charset="0"/>
                <a:cs typeface="Signika Light" charset="0"/>
              </a:rPr>
              <a:t>COM (2015) 192</a:t>
            </a:r>
            <a:r>
              <a:rPr lang="it-IT" sz="2000" dirty="0" smtClean="0">
                <a:ea typeface="Signika Light" charset="0"/>
                <a:cs typeface="Signika Light" charset="0"/>
              </a:rPr>
              <a:t>] sul </a:t>
            </a:r>
            <a:r>
              <a:rPr lang="it-IT" sz="2000" dirty="0">
                <a:ea typeface="Signika Light" charset="0"/>
                <a:cs typeface="Signika Light" charset="0"/>
              </a:rPr>
              <a:t>mercato unico digitale e descrive un approccio basato su 3 pilastri, declinati ciascuno in numerose azioni/progetto</a:t>
            </a:r>
          </a:p>
          <a:p>
            <a:pPr marL="0" indent="0">
              <a:buNone/>
            </a:pPr>
            <a:r>
              <a:rPr lang="it-IT" sz="2000" dirty="0" smtClean="0">
                <a:ea typeface="Signika Light" charset="0"/>
                <a:cs typeface="Signika Light" charset="0"/>
              </a:rPr>
              <a:t>Il </a:t>
            </a:r>
            <a:r>
              <a:rPr lang="it-IT" sz="2000" dirty="0">
                <a:ea typeface="Signika Light" charset="0"/>
                <a:cs typeface="Signika Light" charset="0"/>
              </a:rPr>
              <a:t>terzo pilastro, massimizzare il potenziale di crescita dell’economia digitale, in Italia è affidato ad </a:t>
            </a:r>
            <a:r>
              <a:rPr lang="it-IT" sz="2000" dirty="0" err="1">
                <a:ea typeface="Signika Light" charset="0"/>
                <a:cs typeface="Signika Light" charset="0"/>
              </a:rPr>
              <a:t>AgID</a:t>
            </a:r>
            <a:endParaRPr lang="it-IT" sz="2000" dirty="0">
              <a:ea typeface="Signika Light" charset="0"/>
              <a:cs typeface="Signika Light" charset="0"/>
            </a:endParaRPr>
          </a:p>
          <a:p>
            <a:pPr marL="0" indent="0">
              <a:buNone/>
            </a:pPr>
            <a:r>
              <a:rPr lang="it-IT" sz="2000" dirty="0" smtClean="0">
                <a:ea typeface="Signika Light" charset="0"/>
                <a:cs typeface="Signika Light" charset="0"/>
              </a:rPr>
              <a:t>I </a:t>
            </a:r>
            <a:r>
              <a:rPr lang="it-IT" sz="2000" dirty="0">
                <a:ea typeface="Signika Light" charset="0"/>
                <a:cs typeface="Signika Light" charset="0"/>
              </a:rPr>
              <a:t>restanti pilastri, accesso on line a beni e servizi e reti e servizi digitali in sviluppo, sono in prevalenza di competenza del MISE</a:t>
            </a:r>
          </a:p>
          <a:p>
            <a:pPr marL="0" indent="0">
              <a:buNone/>
            </a:pPr>
            <a:r>
              <a:rPr lang="it-IT" sz="2000" dirty="0" smtClean="0">
                <a:ea typeface="Signika Light" charset="0"/>
                <a:cs typeface="Signika Light" charset="0"/>
              </a:rPr>
              <a:t>La </a:t>
            </a:r>
            <a:r>
              <a:rPr lang="it-IT" sz="2000" dirty="0">
                <a:ea typeface="Signika Light" charset="0"/>
                <a:cs typeface="Signika Light" charset="0"/>
              </a:rPr>
              <a:t>numerosità e complessità dei progetti e delle loro reciproche relazioni richiede necessariamente un approccio bene organizzato, che assicuri costantemente presidio e </a:t>
            </a:r>
            <a:r>
              <a:rPr lang="it-IT" sz="2000" dirty="0" smtClean="0">
                <a:ea typeface="Signika Light" charset="0"/>
                <a:cs typeface="Signika Light" charset="0"/>
              </a:rPr>
              <a:t>controllo = </a:t>
            </a:r>
            <a:r>
              <a:rPr lang="it-IT" sz="2000" dirty="0">
                <a:ea typeface="Signika Light" charset="0"/>
                <a:cs typeface="Signika Light" charset="0"/>
              </a:rPr>
              <a:t>PROJECT MANAGEMENT	</a:t>
            </a:r>
          </a:p>
        </p:txBody>
      </p:sp>
      <p:sp>
        <p:nvSpPr>
          <p:cNvPr id="13" name="Titolo 1"/>
          <p:cNvSpPr>
            <a:spLocks noGrp="1"/>
          </p:cNvSpPr>
          <p:nvPr>
            <p:ph type="ctrTitle" idx="4294967295"/>
          </p:nvPr>
        </p:nvSpPr>
        <p:spPr>
          <a:xfrm>
            <a:off x="569913" y="1716419"/>
            <a:ext cx="4380614" cy="2557129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pPr algn="l"/>
            <a:r>
              <a:rPr lang="it-IT" b="1" dirty="0" smtClean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La strategia per il mercato unico digitale in Europa</a:t>
            </a:r>
            <a:endParaRPr lang="it-IT" b="1" dirty="0">
              <a:solidFill>
                <a:srgbClr val="E26F31"/>
              </a:solidFill>
              <a:latin typeface="+mn-lt"/>
              <a:ea typeface="Signika Semibold" charset="0"/>
              <a:cs typeface="Signika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56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7892072" y="6498838"/>
            <a:ext cx="2743200" cy="365125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5</a:t>
            </a:fld>
            <a:endParaRPr lang="it-IT" dirty="0"/>
          </a:p>
        </p:txBody>
      </p:sp>
      <p:sp>
        <p:nvSpPr>
          <p:cNvPr id="12" name="Sottotitolo 2"/>
          <p:cNvSpPr>
            <a:spLocks noGrp="1"/>
          </p:cNvSpPr>
          <p:nvPr>
            <p:ph type="subTitle" idx="4294967295"/>
          </p:nvPr>
        </p:nvSpPr>
        <p:spPr>
          <a:xfrm>
            <a:off x="5548393" y="1803004"/>
            <a:ext cx="6062743" cy="434982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it-IT" sz="2000" dirty="0">
                <a:ea typeface="Signika Light" charset="0"/>
                <a:cs typeface="Signika Light" charset="0"/>
              </a:rPr>
              <a:t>Il 19 aprile 2016, la Commissione ha adottato un pacchetto di iniziative </a:t>
            </a:r>
            <a:r>
              <a:rPr lang="it-IT" sz="2000" dirty="0" smtClean="0">
                <a:ea typeface="Signika Light" charset="0"/>
                <a:cs typeface="Signika Light" charset="0"/>
              </a:rPr>
              <a:t>sul mercato </a:t>
            </a:r>
            <a:r>
              <a:rPr lang="it-IT" sz="2000" dirty="0">
                <a:ea typeface="Signika Light" charset="0"/>
                <a:cs typeface="Signika Light" charset="0"/>
              </a:rPr>
              <a:t>unico digitale, per aiutare l’industria europea, le piccole e medie imprese, i ricercatori e le autorità pubbliche a trarre il massimo vantaggio dalle nuove tecnologie. Si tratta di quattro Comunicazioni al Parlamento, al Consiglio, al Comitato Economico e Sociale e al Comitato delle Regioni:</a:t>
            </a:r>
          </a:p>
          <a:p>
            <a:pPr marL="457200" indent="-457200">
              <a:buFont typeface="+mj-lt"/>
              <a:buAutoNum type="arabicPeriod"/>
            </a:pPr>
            <a:r>
              <a:rPr lang="it-IT" sz="2000" dirty="0" smtClean="0">
                <a:ea typeface="Signika Light" charset="0"/>
                <a:cs typeface="Signika Light" charset="0"/>
              </a:rPr>
              <a:t>Digitalizzazione </a:t>
            </a:r>
            <a:r>
              <a:rPr lang="it-IT" sz="2000" dirty="0">
                <a:ea typeface="Signika Light" charset="0"/>
                <a:cs typeface="Signika Light" charset="0"/>
              </a:rPr>
              <a:t>dell’industria europea. Cogliere appieno i vantaggi di un mercato unico digitale</a:t>
            </a:r>
          </a:p>
          <a:p>
            <a:pPr marL="457200" indent="-457200">
              <a:buFont typeface="+mj-lt"/>
              <a:buAutoNum type="arabicPeriod"/>
            </a:pPr>
            <a:r>
              <a:rPr lang="it-IT" sz="2000" dirty="0">
                <a:ea typeface="Signika Light" charset="0"/>
                <a:cs typeface="Signika Light" charset="0"/>
              </a:rPr>
              <a:t>Priorità per la normazione delle TIC per il mercato unico digitale</a:t>
            </a:r>
          </a:p>
          <a:p>
            <a:pPr marL="457200" indent="-457200">
              <a:buFont typeface="+mj-lt"/>
              <a:buAutoNum type="arabicPeriod"/>
            </a:pPr>
            <a:r>
              <a:rPr lang="it-IT" sz="2000" dirty="0">
                <a:ea typeface="Signika Light" charset="0"/>
                <a:cs typeface="Signika Light" charset="0"/>
              </a:rPr>
              <a:t>Iniziativa europea per il </a:t>
            </a:r>
            <a:r>
              <a:rPr lang="it-IT" sz="2000" i="1" dirty="0" err="1" smtClean="0">
                <a:ea typeface="Signika Light" charset="0"/>
                <a:cs typeface="Signika Light" charset="0"/>
              </a:rPr>
              <a:t>cloud</a:t>
            </a:r>
            <a:r>
              <a:rPr lang="it-IT" sz="2000" i="1" dirty="0" smtClean="0">
                <a:ea typeface="Signika Light" charset="0"/>
                <a:cs typeface="Signika Light" charset="0"/>
              </a:rPr>
              <a:t> </a:t>
            </a:r>
            <a:r>
              <a:rPr lang="it-IT" sz="2000" i="1" dirty="0" err="1" smtClean="0">
                <a:ea typeface="Signika Light" charset="0"/>
                <a:cs typeface="Signika Light" charset="0"/>
              </a:rPr>
              <a:t>computing</a:t>
            </a:r>
            <a:endParaRPr lang="it-IT" sz="2000" i="1" dirty="0">
              <a:ea typeface="Signika Light" charset="0"/>
              <a:cs typeface="Signika Light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it-IT" sz="2000" dirty="0">
                <a:ea typeface="Signika Light" charset="0"/>
                <a:cs typeface="Signika Light" charset="0"/>
              </a:rPr>
              <a:t>Piano d’azione europeo di </a:t>
            </a:r>
            <a:r>
              <a:rPr lang="it-IT" sz="2000" i="1" dirty="0" err="1">
                <a:ea typeface="Signika Light" charset="0"/>
                <a:cs typeface="Signika Light" charset="0"/>
              </a:rPr>
              <a:t>eGovernment</a:t>
            </a:r>
            <a:r>
              <a:rPr lang="it-IT" sz="2000" i="1" dirty="0">
                <a:ea typeface="Signika Light" charset="0"/>
                <a:cs typeface="Signika Light" charset="0"/>
              </a:rPr>
              <a:t> </a:t>
            </a:r>
            <a:r>
              <a:rPr lang="it-IT" sz="2000" dirty="0" smtClean="0">
                <a:ea typeface="Signika Light" charset="0"/>
                <a:cs typeface="Signika Light" charset="0"/>
              </a:rPr>
              <a:t>2016-20</a:t>
            </a:r>
            <a:endParaRPr lang="it-IT" sz="2000" dirty="0">
              <a:ea typeface="Signika Light" charset="0"/>
              <a:cs typeface="Signika Light" charset="0"/>
            </a:endParaRPr>
          </a:p>
        </p:txBody>
      </p:sp>
      <p:sp>
        <p:nvSpPr>
          <p:cNvPr id="13" name="Titolo 1"/>
          <p:cNvSpPr>
            <a:spLocks noGrp="1"/>
          </p:cNvSpPr>
          <p:nvPr>
            <p:ph type="ctrTitle" idx="4294967295"/>
          </p:nvPr>
        </p:nvSpPr>
        <p:spPr>
          <a:xfrm>
            <a:off x="569913" y="1716419"/>
            <a:ext cx="4380614" cy="2557129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pPr algn="l"/>
            <a:r>
              <a:rPr lang="it-IT" b="1" dirty="0" smtClean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I documenti strategici più recenti dell’U.E.</a:t>
            </a:r>
            <a:endParaRPr lang="it-IT" b="1" dirty="0">
              <a:solidFill>
                <a:srgbClr val="E26F31"/>
              </a:solidFill>
              <a:latin typeface="+mn-lt"/>
              <a:ea typeface="Signika Semibold" charset="0"/>
              <a:cs typeface="Signika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43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7892072" y="6498838"/>
            <a:ext cx="2743200" cy="365125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6</a:t>
            </a:fld>
            <a:endParaRPr lang="it-IT" dirty="0"/>
          </a:p>
        </p:txBody>
      </p:sp>
      <p:sp>
        <p:nvSpPr>
          <p:cNvPr id="12" name="Sottotitolo 2"/>
          <p:cNvSpPr>
            <a:spLocks noGrp="1"/>
          </p:cNvSpPr>
          <p:nvPr>
            <p:ph type="subTitle" idx="4294967295"/>
          </p:nvPr>
        </p:nvSpPr>
        <p:spPr>
          <a:xfrm>
            <a:off x="5548393" y="1803004"/>
            <a:ext cx="6062743" cy="434982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it-IT" sz="2000" dirty="0">
                <a:ea typeface="Signika Light" charset="0"/>
                <a:cs typeface="Signika Light" charset="0"/>
              </a:rPr>
              <a:t>Il 25 maggio 2016, la Commissione ha adottato un ulteriore pacchetto di iniziative focalizzato sulla promozione del mercato elettronico. Si tratta di tre proposte di Regolamento, finalizzate a:</a:t>
            </a:r>
          </a:p>
          <a:p>
            <a:pPr marL="457200" indent="-457200">
              <a:buFont typeface="+mj-lt"/>
              <a:buAutoNum type="arabicPeriod"/>
            </a:pPr>
            <a:r>
              <a:rPr lang="it-IT" sz="2000" dirty="0" smtClean="0">
                <a:ea typeface="Signika Light" charset="0"/>
                <a:cs typeface="Signika Light" charset="0"/>
              </a:rPr>
              <a:t>Contrastare </a:t>
            </a:r>
            <a:r>
              <a:rPr lang="it-IT" sz="2000" dirty="0">
                <a:ea typeface="Signika Light" charset="0"/>
                <a:cs typeface="Signika Light" charset="0"/>
              </a:rPr>
              <a:t>il blocco geografico ingiustificato e altre forme di discriminazione in base alla nazionalità o al luogo di residenza o di stabilimento</a:t>
            </a:r>
          </a:p>
          <a:p>
            <a:pPr marL="457200" indent="-457200">
              <a:buFont typeface="+mj-lt"/>
              <a:buAutoNum type="arabicPeriod"/>
            </a:pPr>
            <a:r>
              <a:rPr lang="it-IT" sz="2000" dirty="0">
                <a:ea typeface="Signika Light" charset="0"/>
                <a:cs typeface="Signika Light" charset="0"/>
              </a:rPr>
              <a:t>Aumentare la trasparenza dei prezzi e stimolare la concorrenza nei servizi di consegna transfrontaliera dei pacchi</a:t>
            </a:r>
          </a:p>
          <a:p>
            <a:pPr marL="457200" indent="-457200">
              <a:buFont typeface="+mj-lt"/>
              <a:buAutoNum type="arabicPeriod"/>
            </a:pPr>
            <a:r>
              <a:rPr lang="it-IT" sz="2000" dirty="0">
                <a:ea typeface="Signika Light" charset="0"/>
                <a:cs typeface="Signika Light" charset="0"/>
              </a:rPr>
              <a:t>Riformare il Regolamento sulla cooperazione tra le Autorità nazionali responsabili per l’applicazione della normativa sulla protezione dei consumatori</a:t>
            </a:r>
          </a:p>
        </p:txBody>
      </p:sp>
      <p:sp>
        <p:nvSpPr>
          <p:cNvPr id="13" name="Titolo 1"/>
          <p:cNvSpPr>
            <a:spLocks noGrp="1"/>
          </p:cNvSpPr>
          <p:nvPr>
            <p:ph type="ctrTitle" idx="4294967295"/>
          </p:nvPr>
        </p:nvSpPr>
        <p:spPr>
          <a:xfrm>
            <a:off x="569913" y="1716419"/>
            <a:ext cx="4380614" cy="2557129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r>
              <a:rPr lang="it-IT" b="1" dirty="0" smtClean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I documenti strategici più recenti dell’U.E.</a:t>
            </a:r>
            <a:endParaRPr lang="it-IT" b="1" dirty="0">
              <a:solidFill>
                <a:srgbClr val="E26F31"/>
              </a:solidFill>
              <a:latin typeface="+mn-lt"/>
              <a:ea typeface="Signika Semibold" charset="0"/>
              <a:cs typeface="Signika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366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4294967295"/>
          </p:nvPr>
        </p:nvSpPr>
        <p:spPr>
          <a:xfrm>
            <a:off x="569912" y="1921790"/>
            <a:ext cx="11050587" cy="4875885"/>
          </a:xfrm>
          <a:prstGeom prst="rect">
            <a:avLst/>
          </a:prstGeom>
        </p:spPr>
        <p:txBody>
          <a:bodyPr lIns="0" tIns="0" rIns="0" bIns="0"/>
          <a:lstStyle/>
          <a:p>
            <a:pPr marL="0" indent="0" algn="l">
              <a:buClr>
                <a:srgbClr val="DA304A"/>
              </a:buClr>
              <a:buSzPct val="160000"/>
              <a:buNone/>
            </a:pPr>
            <a:endParaRPr lang="it-IT" sz="1400" dirty="0"/>
          </a:p>
          <a:p>
            <a:pPr algn="l"/>
            <a:endParaRPr lang="it-IT" sz="12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9599868" y="6478588"/>
            <a:ext cx="1077179" cy="319088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7</a:t>
            </a:fld>
            <a:endParaRPr lang="it-IT" dirty="0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1904" y="957044"/>
            <a:ext cx="8804683" cy="5858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381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4294967295"/>
          </p:nvPr>
        </p:nvSpPr>
        <p:spPr>
          <a:xfrm>
            <a:off x="6477000" y="2015595"/>
            <a:ext cx="5143499" cy="4052888"/>
          </a:xfrm>
          <a:prstGeom prst="rect">
            <a:avLst/>
          </a:prstGeom>
        </p:spPr>
        <p:txBody>
          <a:bodyPr lIns="0" tIns="0" rIns="0" bIns="0"/>
          <a:lstStyle/>
          <a:p>
            <a:pPr marL="285750" indent="-285750" algn="l">
              <a:buClr>
                <a:srgbClr val="DA304A"/>
              </a:buClr>
              <a:buSzPct val="160000"/>
              <a:buFont typeface="Wingdings" charset="2"/>
              <a:buChar char="§"/>
            </a:pPr>
            <a:endParaRPr lang="it-IT" sz="1400" dirty="0"/>
          </a:p>
          <a:p>
            <a:pPr algn="l"/>
            <a:endParaRPr lang="it-IT" sz="12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9599868" y="6478588"/>
            <a:ext cx="1077179" cy="319088"/>
          </a:xfrm>
        </p:spPr>
        <p:txBody>
          <a:bodyPr/>
          <a:lstStyle/>
          <a:p>
            <a:fld id="{5C7FE145-5F5F-9146-8268-470DD024125C}" type="slidenum">
              <a:rPr lang="it-IT" smtClean="0"/>
              <a:pPr/>
              <a:t>8</a:t>
            </a:fld>
            <a:endParaRPr lang="it-IT" dirty="0"/>
          </a:p>
        </p:txBody>
      </p:sp>
      <p:sp>
        <p:nvSpPr>
          <p:cNvPr id="6" name="Sottotitolo 2"/>
          <p:cNvSpPr txBox="1">
            <a:spLocks/>
          </p:cNvSpPr>
          <p:nvPr/>
        </p:nvSpPr>
        <p:spPr>
          <a:xfrm>
            <a:off x="569913" y="2015595"/>
            <a:ext cx="5907087" cy="4462993"/>
          </a:xfrm>
          <a:prstGeom prst="rect">
            <a:avLst/>
          </a:prstGeom>
        </p:spPr>
        <p:txBody>
          <a:bodyPr lIns="0" tIns="0" rIns="0" bIns="0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it-IT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itolo 1"/>
          <p:cNvSpPr>
            <a:spLocks noGrp="1"/>
          </p:cNvSpPr>
          <p:nvPr>
            <p:ph type="ctrTitle" idx="4294967295"/>
          </p:nvPr>
        </p:nvSpPr>
        <p:spPr>
          <a:xfrm>
            <a:off x="948381" y="1081927"/>
            <a:ext cx="10700951" cy="523563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r>
              <a:rPr lang="it-IT" sz="3200" b="1" dirty="0" smtClean="0">
                <a:solidFill>
                  <a:srgbClr val="E26F31"/>
                </a:solidFill>
                <a:latin typeface="+mn-lt"/>
                <a:ea typeface="Signika Semibold" charset="0"/>
                <a:cs typeface="Signika Semibold" charset="0"/>
              </a:rPr>
              <a:t>Il piano triennale guida l’attuazione della strategia italiana</a:t>
            </a:r>
            <a:endParaRPr lang="it-IT" sz="3200" b="1" dirty="0">
              <a:solidFill>
                <a:srgbClr val="E26F31"/>
              </a:solidFill>
              <a:latin typeface="+mn-lt"/>
              <a:ea typeface="Signika Semibold" charset="0"/>
              <a:cs typeface="Signika Semibold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9398" y="1880159"/>
            <a:ext cx="5080454" cy="4442305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58826" y="3065484"/>
            <a:ext cx="2993395" cy="3078747"/>
          </a:xfrm>
          <a:prstGeom prst="rect">
            <a:avLst/>
          </a:prstGeom>
        </p:spPr>
      </p:pic>
      <p:sp>
        <p:nvSpPr>
          <p:cNvPr id="8" name="TextBox 15"/>
          <p:cNvSpPr txBox="1"/>
          <p:nvPr>
            <p:custDataLst>
              <p:tags r:id="rId1"/>
            </p:custDataLst>
          </p:nvPr>
        </p:nvSpPr>
        <p:spPr>
          <a:xfrm>
            <a:off x="7145060" y="2285938"/>
            <a:ext cx="3220925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2800" b="1" kern="0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  <a:sym typeface="Helvetica"/>
              </a:rPr>
              <a:t>Piano triennale</a:t>
            </a:r>
            <a:endParaRPr lang="it-IT" sz="2800" b="1" dirty="0">
              <a:solidFill>
                <a:srgbClr val="FFFFFF"/>
              </a:solidFill>
              <a:latin typeface="Open Sans Bold"/>
              <a:cs typeface="Arial" panose="020B0604020202020204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85002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C7FE145-5F5F-9146-8268-470DD024125C}" type="slidenum">
              <a:rPr lang="it-IT" smtClean="0"/>
              <a:pPr/>
              <a:t>9</a:t>
            </a:fld>
            <a:endParaRPr lang="it-IT" dirty="0"/>
          </a:p>
        </p:txBody>
      </p:sp>
      <p:sp>
        <p:nvSpPr>
          <p:cNvPr id="62" name="Rettangolo 61"/>
          <p:cNvSpPr/>
          <p:nvPr/>
        </p:nvSpPr>
        <p:spPr>
          <a:xfrm>
            <a:off x="912988" y="1093975"/>
            <a:ext cx="10183365" cy="535531"/>
          </a:xfrm>
          <a:prstGeom prst="rect">
            <a:avLst/>
          </a:prstGeom>
        </p:spPr>
        <p:txBody>
          <a:bodyPr lIns="0" tIns="0" rIns="0" bIns="0" anchor="t" anchorCtr="0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3200" b="1" dirty="0">
                <a:solidFill>
                  <a:srgbClr val="E26F31"/>
                </a:solidFill>
                <a:ea typeface="Signika Semibold" charset="0"/>
                <a:cs typeface="Signika Semibold" charset="0"/>
              </a:rPr>
              <a:t>Progettazione e programmazione europea e internazionale</a:t>
            </a:r>
          </a:p>
        </p:txBody>
      </p:sp>
      <p:pic>
        <p:nvPicPr>
          <p:cNvPr id="63" name="Immagine 6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2271" y="2406108"/>
            <a:ext cx="3812661" cy="1139912"/>
          </a:xfrm>
          <a:prstGeom prst="rect">
            <a:avLst/>
          </a:prstGeom>
        </p:spPr>
      </p:pic>
      <p:pic>
        <p:nvPicPr>
          <p:cNvPr id="64" name="Immagine 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259" y="2200760"/>
            <a:ext cx="1071864" cy="4359881"/>
          </a:xfrm>
          <a:prstGeom prst="rect">
            <a:avLst/>
          </a:prstGeom>
        </p:spPr>
      </p:pic>
      <p:pic>
        <p:nvPicPr>
          <p:cNvPr id="65" name="Immagine 6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2271" y="3995288"/>
            <a:ext cx="3812661" cy="770821"/>
          </a:xfrm>
          <a:prstGeom prst="rect">
            <a:avLst/>
          </a:prstGeom>
        </p:spPr>
      </p:pic>
      <p:pic>
        <p:nvPicPr>
          <p:cNvPr id="66" name="Immagine 6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1254" y="1753364"/>
            <a:ext cx="957155" cy="5013158"/>
          </a:xfrm>
          <a:prstGeom prst="rect">
            <a:avLst/>
          </a:prstGeom>
        </p:spPr>
      </p:pic>
      <p:pic>
        <p:nvPicPr>
          <p:cNvPr id="68" name="Immagine 6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26569" y="5460914"/>
            <a:ext cx="2547329" cy="1242510"/>
          </a:xfrm>
          <a:prstGeom prst="rect">
            <a:avLst/>
          </a:prstGeom>
        </p:spPr>
      </p:pic>
      <p:pic>
        <p:nvPicPr>
          <p:cNvPr id="69" name="Immagine 6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8815" y="4909507"/>
            <a:ext cx="3542835" cy="517493"/>
          </a:xfrm>
          <a:prstGeom prst="rect">
            <a:avLst/>
          </a:prstGeom>
        </p:spPr>
      </p:pic>
      <p:pic>
        <p:nvPicPr>
          <p:cNvPr id="70" name="Immagine 6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25411" y="4019224"/>
            <a:ext cx="2297733" cy="844972"/>
          </a:xfrm>
          <a:prstGeom prst="rect">
            <a:avLst/>
          </a:prstGeom>
        </p:spPr>
      </p:pic>
      <p:pic>
        <p:nvPicPr>
          <p:cNvPr id="71" name="Immagine 7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14902" y="3513410"/>
            <a:ext cx="3329638" cy="593242"/>
          </a:xfrm>
          <a:prstGeom prst="rect">
            <a:avLst/>
          </a:prstGeom>
        </p:spPr>
      </p:pic>
      <p:pic>
        <p:nvPicPr>
          <p:cNvPr id="72" name="Immagine 7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25411" y="2290377"/>
            <a:ext cx="2155652" cy="1177722"/>
          </a:xfrm>
          <a:prstGeom prst="rect">
            <a:avLst/>
          </a:prstGeom>
        </p:spPr>
      </p:pic>
      <p:pic>
        <p:nvPicPr>
          <p:cNvPr id="73" name="Immagine 7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28815" y="1737733"/>
            <a:ext cx="3542835" cy="631228"/>
          </a:xfrm>
          <a:prstGeom prst="rect">
            <a:avLst/>
          </a:prstGeom>
        </p:spPr>
      </p:pic>
      <p:pic>
        <p:nvPicPr>
          <p:cNvPr id="75" name="Immagine 7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69432" y="5968584"/>
            <a:ext cx="3741822" cy="363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651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heme/theme1.xml><?xml version="1.0" encoding="utf-8"?>
<a:theme xmlns:a="http://schemas.openxmlformats.org/drawingml/2006/main" name="Personalizza struttur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7</TotalTime>
  <Words>770</Words>
  <Application>Microsoft Office PowerPoint</Application>
  <PresentationFormat>Widescreen</PresentationFormat>
  <Paragraphs>69</Paragraphs>
  <Slides>12</Slides>
  <Notes>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2</vt:i4>
      </vt:variant>
    </vt:vector>
  </HeadingPairs>
  <TitlesOfParts>
    <vt:vector size="22" baseType="lpstr">
      <vt:lpstr>Arial</vt:lpstr>
      <vt:lpstr>Calibri</vt:lpstr>
      <vt:lpstr>Calibri Light</vt:lpstr>
      <vt:lpstr>Helvetica</vt:lpstr>
      <vt:lpstr>Open Sans Bold</vt:lpstr>
      <vt:lpstr>Signika</vt:lpstr>
      <vt:lpstr>Signika Light</vt:lpstr>
      <vt:lpstr>Signika Semibold</vt:lpstr>
      <vt:lpstr>Wingdings</vt:lpstr>
      <vt:lpstr>Personalizza struttura</vt:lpstr>
      <vt:lpstr>COMPORTAMENTI INDIVIDUALI  E RELAZIONI SOCIALI  IN TRASFORMAZIONE  UNA SFIDA PER LA  STATISTICA UFFICIALE </vt:lpstr>
      <vt:lpstr>L’Agenda Digitale Europea</vt:lpstr>
      <vt:lpstr>Il mercato unico digitale</vt:lpstr>
      <vt:lpstr>La strategia per il mercato unico digitale in Europa</vt:lpstr>
      <vt:lpstr>I documenti strategici più recenti dell’U.E.</vt:lpstr>
      <vt:lpstr>I documenti strategici più recenti dell’U.E.</vt:lpstr>
      <vt:lpstr>Presentazione standard di PowerPoint</vt:lpstr>
      <vt:lpstr>Il piano triennale guida l’attuazione della strategia italiana</vt:lpstr>
      <vt:lpstr>Presentazione standard di PowerPoint</vt:lpstr>
      <vt:lpstr>Ostacoli al project management nella conduzione di progetti nella P.A.</vt:lpstr>
      <vt:lpstr>Ostacoli al project management nella conduzione di progetti nella P.A.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Utente di Microsoft Office</dc:creator>
  <cp:lastModifiedBy>Intravaia Daniela Maria</cp:lastModifiedBy>
  <cp:revision>75</cp:revision>
  <cp:lastPrinted>2016-06-21T18:10:35Z</cp:lastPrinted>
  <dcterms:created xsi:type="dcterms:W3CDTF">2016-03-11T16:10:26Z</dcterms:created>
  <dcterms:modified xsi:type="dcterms:W3CDTF">2016-06-22T18:46:46Z</dcterms:modified>
</cp:coreProperties>
</file>